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8" d="100"/>
          <a:sy n="68" d="100"/>
        </p:scale>
        <p:origin x="720"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7/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17/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57181" y="1420837"/>
            <a:ext cx="6352558" cy="4543865"/>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Price is not predictive of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Using the available price data, it is not possible to conclude that price is predictive of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Further price data from competitors or market wide data would be useful in this regard.</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Churn can largely be predicted using client demographic data alongside price data</a:t>
            </a: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20% discount might not be sufficient to stop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From the model we developed, a 20% discount might not be sufficient to turn the tides on chur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Other approaches such as better customers services/satisfaction, interviewing customers who churned about their reasons and addressing it should be considered.</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6</TotalTime>
  <Words>114</Words>
  <Application>Microsoft Office PowerPoint</Application>
  <PresentationFormat>Widescreen</PresentationFormat>
  <Paragraphs>10</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Victor Kola</cp:lastModifiedBy>
  <cp:revision>448</cp:revision>
  <cp:lastPrinted>2016-04-06T18:59:25Z</cp:lastPrinted>
  <dcterms:created xsi:type="dcterms:W3CDTF">2016-11-04T11:46:04Z</dcterms:created>
  <dcterms:modified xsi:type="dcterms:W3CDTF">2023-03-17T08:3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